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8" r:id="rId2"/>
    <p:sldId id="259" r:id="rId3"/>
    <p:sldId id="267" r:id="rId4"/>
    <p:sldId id="261" r:id="rId5"/>
    <p:sldId id="270" r:id="rId6"/>
    <p:sldId id="266" r:id="rId7"/>
    <p:sldId id="262" r:id="rId8"/>
    <p:sldId id="269" r:id="rId9"/>
    <p:sldId id="264" r:id="rId10"/>
    <p:sldId id="263" r:id="rId11"/>
    <p:sldId id="268" r:id="rId1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74" d="100"/>
          <a:sy n="74" d="100"/>
        </p:scale>
        <p:origin x="-126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EF7EA5-A5B2-4376-99DD-F37833DCDCEE}" type="datetimeFigureOut">
              <a:rPr lang="en-US" smtClean="0"/>
              <a:t>09-Jun-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9C4C46-2894-4062-B3D0-E3DAFA8F27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4332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4390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4390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4390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4390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90DE5-A3C2-4B2A-8B95-FA23F0B5289D}" type="datetimeFigureOut">
              <a:rPr lang="en-US" smtClean="0"/>
              <a:t>09-Jun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E2FFC-5DEC-45DF-9A58-43A1DD05A8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5690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90DE5-A3C2-4B2A-8B95-FA23F0B5289D}" type="datetimeFigureOut">
              <a:rPr lang="en-US" smtClean="0"/>
              <a:t>09-Jun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E2FFC-5DEC-45DF-9A58-43A1DD05A8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3607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90DE5-A3C2-4B2A-8B95-FA23F0B5289D}" type="datetimeFigureOut">
              <a:rPr lang="en-US" smtClean="0"/>
              <a:t>09-Jun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E2FFC-5DEC-45DF-9A58-43A1DD05A8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252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915735"/>
            <a:ext cx="7410450" cy="14953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0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5325" y="4922799"/>
            <a:ext cx="6477000" cy="57206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1" name="Text Placehold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800" y="1032933"/>
            <a:ext cx="7410450" cy="183726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39"/>
          <p:cNvGrpSpPr>
            <a:grpSpLocks noChangeAspect="1"/>
          </p:cNvGrpSpPr>
          <p:nvPr userDrawn="1"/>
        </p:nvGrpSpPr>
        <p:grpSpPr>
          <a:xfrm>
            <a:off x="762008" y="5875869"/>
            <a:ext cx="7616919" cy="414867"/>
            <a:chOff x="762001" y="4540250"/>
            <a:chExt cx="7434072" cy="300993"/>
          </a:xfrm>
        </p:grpSpPr>
        <p:pic>
          <p:nvPicPr>
            <p:cNvPr id="41" name="Picture 40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42" name="Picture 41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779538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2121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2121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226485"/>
            <a:ext cx="8377238" cy="1272116"/>
          </a:xfrm>
          <a:prstGeom prst="rect">
            <a:avLst/>
          </a:prstGeom>
        </p:spPr>
        <p:txBody>
          <a:bodyPr lIns="0" tIns="0" rIns="0" bIns="45716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313422" y="6578600"/>
            <a:ext cx="44799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6214648"/>
            <a:ext cx="8377238" cy="338554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6" y="6656745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7" y="8221"/>
            <a:ext cx="3019425" cy="215444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7948360" y="-23777"/>
            <a:ext cx="813052" cy="257115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13533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90DE5-A3C2-4B2A-8B95-FA23F0B5289D}" type="datetimeFigureOut">
              <a:rPr lang="en-US" smtClean="0"/>
              <a:t>09-Jun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E2FFC-5DEC-45DF-9A58-43A1DD05A8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048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90DE5-A3C2-4B2A-8B95-FA23F0B5289D}" type="datetimeFigureOut">
              <a:rPr lang="en-US" smtClean="0"/>
              <a:t>09-Jun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E2FFC-5DEC-45DF-9A58-43A1DD05A8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397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90DE5-A3C2-4B2A-8B95-FA23F0B5289D}" type="datetimeFigureOut">
              <a:rPr lang="en-US" smtClean="0"/>
              <a:t>09-Jun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E2FFC-5DEC-45DF-9A58-43A1DD05A8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6592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90DE5-A3C2-4B2A-8B95-FA23F0B5289D}" type="datetimeFigureOut">
              <a:rPr lang="en-US" smtClean="0"/>
              <a:t>09-Jun-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E2FFC-5DEC-45DF-9A58-43A1DD05A8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8399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90DE5-A3C2-4B2A-8B95-FA23F0B5289D}" type="datetimeFigureOut">
              <a:rPr lang="en-US" smtClean="0"/>
              <a:t>09-Jun-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E2FFC-5DEC-45DF-9A58-43A1DD05A8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0631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90DE5-A3C2-4B2A-8B95-FA23F0B5289D}" type="datetimeFigureOut">
              <a:rPr lang="en-US" smtClean="0"/>
              <a:t>09-Jun-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E2FFC-5DEC-45DF-9A58-43A1DD05A8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2448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90DE5-A3C2-4B2A-8B95-FA23F0B5289D}" type="datetimeFigureOut">
              <a:rPr lang="en-US" smtClean="0"/>
              <a:t>09-Jun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E2FFC-5DEC-45DF-9A58-43A1DD05A8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4335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90DE5-A3C2-4B2A-8B95-FA23F0B5289D}" type="datetimeFigureOut">
              <a:rPr lang="en-US" smtClean="0"/>
              <a:t>09-Jun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E2FFC-5DEC-45DF-9A58-43A1DD05A8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3809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190DE5-A3C2-4B2A-8B95-FA23F0B5289D}" type="datetimeFigureOut">
              <a:rPr lang="en-US" smtClean="0"/>
              <a:t>09-Jun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E2FFC-5DEC-45DF-9A58-43A1DD05A8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684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9.xml"/><Relationship Id="rId7" Type="http://schemas.openxmlformats.org/officeDocument/2006/relationships/image" Target="../media/image4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27.pn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21.xml"/><Relationship Id="rId7" Type="http://schemas.openxmlformats.org/officeDocument/2006/relationships/image" Target="../media/image4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31.pn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9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5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3.xml"/><Relationship Id="rId7" Type="http://schemas.openxmlformats.org/officeDocument/2006/relationships/image" Target="../media/image4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19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5.xml"/><Relationship Id="rId7" Type="http://schemas.openxmlformats.org/officeDocument/2006/relationships/image" Target="../media/image4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23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4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989" y="3988517"/>
            <a:ext cx="6477000" cy="429050"/>
          </a:xfrm>
        </p:spPr>
        <p:txBody>
          <a:bodyPr>
            <a:normAutofit lnSpcReduction="10000"/>
          </a:bodyPr>
          <a:lstStyle/>
          <a:p>
            <a:r>
              <a:rPr lang="en-US" dirty="0" smtClean="0">
                <a:latin typeface="+mn-lt"/>
              </a:rPr>
              <a:t>MAY </a:t>
            </a:r>
            <a:r>
              <a:rPr lang="en-US" dirty="0">
                <a:latin typeface="+mn-lt"/>
              </a:rPr>
              <a:t>2017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83464" y="1631950"/>
            <a:ext cx="8799576" cy="1377950"/>
          </a:xfrm>
        </p:spPr>
        <p:txBody>
          <a:bodyPr/>
          <a:lstStyle/>
          <a:p>
            <a:r>
              <a:rPr lang="en-US" sz="3800" b="1" dirty="0">
                <a:latin typeface="+mj-lt"/>
              </a:rPr>
              <a:t>BR US Time to Next Purchase Prediction Model</a:t>
            </a:r>
          </a:p>
        </p:txBody>
      </p:sp>
    </p:spTree>
    <p:extLst>
      <p:ext uri="{BB962C8B-B14F-4D97-AF65-F5344CB8AC3E}">
        <p14:creationId xmlns:p14="http://schemas.microsoft.com/office/powerpoint/2010/main" val="5394486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7483993"/>
              </p:ext>
            </p:ext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2116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7" y="226485"/>
            <a:ext cx="8845687" cy="565204"/>
          </a:xfrm>
        </p:spPr>
        <p:txBody>
          <a:bodyPr lIns="0" tIns="0" rIns="0">
            <a:normAutofit fontScale="90000"/>
          </a:bodyPr>
          <a:lstStyle/>
          <a:p>
            <a:r>
              <a:rPr lang="en-US" dirty="0">
                <a:latin typeface="+mn-lt"/>
              </a:rPr>
              <a:t>MODEL </a:t>
            </a:r>
            <a:r>
              <a:rPr lang="en-US" dirty="0" smtClean="0">
                <a:latin typeface="+mn-lt"/>
              </a:rPr>
              <a:t>VALIDATIONS- 6 Months In Time</a:t>
            </a:r>
            <a:endParaRPr lang="en-US" dirty="0">
              <a:latin typeface="+mn-l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50713" y="3564389"/>
            <a:ext cx="8435477" cy="369332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Summary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mong many models , </a:t>
            </a:r>
            <a:r>
              <a:rPr lang="en-US" sz="900" dirty="0" err="1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Xgboost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 </a:t>
            </a: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lgorithm was picked based on model performance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.</a:t>
            </a:r>
            <a:endParaRPr lang="en-US" sz="9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25669" y="4519457"/>
            <a:ext cx="8308426" cy="179879"/>
            <a:chOff x="425668" y="3321270"/>
            <a:chExt cx="8308426" cy="134909"/>
          </a:xfrm>
        </p:grpSpPr>
        <p:sp>
          <p:nvSpPr>
            <p:cNvPr id="3" name="Rectangle 2"/>
            <p:cNvSpPr/>
            <p:nvPr/>
          </p:nvSpPr>
          <p:spPr>
            <a:xfrm>
              <a:off x="425668" y="3321270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deciles  by  median score from 20 model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680068" y="3321275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percentiles by  median score from 20 models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971253" y="3321280"/>
              <a:ext cx="1471589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Gains  using median score from 20 models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073258" y="3321285"/>
              <a:ext cx="1660836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Lift using median score from 20 models</a:t>
              </a:r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64" y="4909745"/>
            <a:ext cx="1828824" cy="130630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4600" y="4872630"/>
            <a:ext cx="1828824" cy="13063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7035" y="4888995"/>
            <a:ext cx="2162365" cy="135856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9882" y="4936576"/>
            <a:ext cx="1884213" cy="1345866"/>
          </a:xfrm>
          <a:prstGeom prst="rect">
            <a:avLst/>
          </a:prstGeom>
        </p:spPr>
      </p:pic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7023787"/>
              </p:ext>
            </p:extLst>
          </p:nvPr>
        </p:nvGraphicFramePr>
        <p:xfrm>
          <a:off x="760935" y="914400"/>
          <a:ext cx="4876800" cy="2362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9600"/>
                <a:gridCol w="609600"/>
                <a:gridCol w="609600"/>
                <a:gridCol w="609600"/>
                <a:gridCol w="609600"/>
                <a:gridCol w="609600"/>
                <a:gridCol w="609600"/>
                <a:gridCol w="609600"/>
              </a:tblGrid>
              <a:tr h="44767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Decil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stomer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Number of Responde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m Responder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Response Ra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Response Gai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mulative Response Ra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Lif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74,41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74,41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0.3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1.0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0.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.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10,77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85,19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6.7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8.4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3.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9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43,87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29,07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2.3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2.1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6.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7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73,99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103,06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7.3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1.9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9.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5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64,34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267,40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5.2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1.1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4.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4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37,63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405,04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9.5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8.9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0.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3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9,98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505,02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1.4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4.5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.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2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2,53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607,55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2.0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0.2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3.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1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1,67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699,23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9.6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5.4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0.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0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1,44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780,67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7.4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0.0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8.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effectLst/>
                        </a:rPr>
                        <a:t>1.0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0188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163893"/>
              </p:ext>
            </p:ext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2116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7" y="226485"/>
            <a:ext cx="8845687" cy="565204"/>
          </a:xfrm>
        </p:spPr>
        <p:txBody>
          <a:bodyPr lIns="0" tIns="0" rIns="0">
            <a:noAutofit/>
          </a:bodyPr>
          <a:lstStyle/>
          <a:p>
            <a:r>
              <a:rPr lang="en-US" sz="3600" dirty="0">
                <a:latin typeface="+mn-lt"/>
              </a:rPr>
              <a:t>MODEL </a:t>
            </a:r>
            <a:r>
              <a:rPr lang="en-US" sz="3600" dirty="0" smtClean="0">
                <a:latin typeface="+mn-lt"/>
              </a:rPr>
              <a:t>VALIDATIONS- 6 Month Out of Time</a:t>
            </a:r>
            <a:endParaRPr lang="en-US" sz="3600" dirty="0">
              <a:latin typeface="+mn-l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50713" y="3564389"/>
            <a:ext cx="8435477" cy="369332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Summary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mong many models , </a:t>
            </a:r>
            <a:r>
              <a:rPr lang="en-US" sz="900" dirty="0" err="1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Xgboost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 </a:t>
            </a: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lgorithm was picked based on model performance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.</a:t>
            </a:r>
            <a:endParaRPr lang="en-US" sz="9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25669" y="4519457"/>
            <a:ext cx="8308426" cy="179879"/>
            <a:chOff x="425668" y="3321270"/>
            <a:chExt cx="8308426" cy="134909"/>
          </a:xfrm>
        </p:grpSpPr>
        <p:sp>
          <p:nvSpPr>
            <p:cNvPr id="3" name="Rectangle 2"/>
            <p:cNvSpPr/>
            <p:nvPr/>
          </p:nvSpPr>
          <p:spPr>
            <a:xfrm>
              <a:off x="425668" y="3321270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deciles  by  median score from 20 model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680068" y="3321275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percentiles by  median score from 20 models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971253" y="3321280"/>
              <a:ext cx="1471589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Gains  using median score from 20 models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073258" y="3321285"/>
              <a:ext cx="1660836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Lift using median score from 20 models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729063"/>
              </p:ext>
            </p:extLst>
          </p:nvPr>
        </p:nvGraphicFramePr>
        <p:xfrm>
          <a:off x="460757" y="914400"/>
          <a:ext cx="4876800" cy="24479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9600"/>
                <a:gridCol w="609600"/>
                <a:gridCol w="609600"/>
                <a:gridCol w="609600"/>
                <a:gridCol w="609600"/>
                <a:gridCol w="609600"/>
                <a:gridCol w="609600"/>
                <a:gridCol w="609600"/>
              </a:tblGrid>
              <a:tr h="44767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Decil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stomer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Number of Responde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m Responder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Response Ra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Response Gai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mulative Response Ra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Lif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9868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98,68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9.5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5.0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9.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.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1603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14,71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0.3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3.2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9.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.1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5744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72,15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6.6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6.4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2.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8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1478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86,94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6.7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6.0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5.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6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8989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76,84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0.9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3.6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0.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4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096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67,80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1.1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1.2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7.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3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7148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039,29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6.6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7.2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4.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2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594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095,23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3.0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1.9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1.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1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941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144,65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1.5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6.0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9.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0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66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191,28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.8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0.0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7.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effectLst/>
                        </a:rPr>
                        <a:t>1.0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4953000"/>
            <a:ext cx="1531224" cy="109373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3721" y="4972318"/>
            <a:ext cx="1531224" cy="109373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0302" y="4952999"/>
            <a:ext cx="1531224" cy="109373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2871" y="4953000"/>
            <a:ext cx="1531224" cy="1093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1351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47" y="311494"/>
            <a:ext cx="8845687" cy="383436"/>
          </a:xfrm>
        </p:spPr>
        <p:txBody>
          <a:bodyPr vert="horz" lIns="0" tIns="0" rIns="0" bIns="45716" rtlCol="0" anchor="ctr">
            <a:normAutofit fontScale="90000"/>
          </a:bodyPr>
          <a:lstStyle/>
          <a:p>
            <a:r>
              <a:rPr lang="en-US" dirty="0">
                <a:latin typeface="+mj-lt"/>
              </a:rPr>
              <a:t>BACKGROUND</a:t>
            </a:r>
          </a:p>
        </p:txBody>
      </p:sp>
      <p:sp>
        <p:nvSpPr>
          <p:cNvPr id="3" name="Rectangle 2"/>
          <p:cNvSpPr/>
          <p:nvPr/>
        </p:nvSpPr>
        <p:spPr>
          <a:xfrm>
            <a:off x="4175889" y="5208386"/>
            <a:ext cx="219075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30063" y="5223016"/>
            <a:ext cx="400050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132376" y="1175289"/>
            <a:ext cx="4245615" cy="1477328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ext Purchase Prediction Model enables answering Questions Like</a:t>
            </a:r>
          </a:p>
          <a:p>
            <a:pPr lvl="1"/>
            <a:endParaRPr lang="en-US" sz="9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When is the customer most likely to make a purchase ?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When should a customer be targeted on a longer time scale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Who is most likely to make a purchase at a given time ?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Should the customer be targeted in our next campaign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Explaining Tradeoffs between various customer cohorts ?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Who is a better target?</a:t>
            </a:r>
          </a:p>
          <a:p>
            <a:pPr marL="1543050" lvl="3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A more frequent buyer or a less frequent buyer who hasn’t bought in a long time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31459" y="1504682"/>
            <a:ext cx="3965095" cy="187483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5059" y="3266360"/>
            <a:ext cx="1889256" cy="138545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84315" y="3266359"/>
            <a:ext cx="2061473" cy="1398581"/>
          </a:xfrm>
          <a:prstGeom prst="rect">
            <a:avLst/>
          </a:prstGeom>
        </p:spPr>
      </p:pic>
      <p:sp>
        <p:nvSpPr>
          <p:cNvPr id="45" name="TextBox 7"/>
          <p:cNvSpPr txBox="1"/>
          <p:nvPr/>
        </p:nvSpPr>
        <p:spPr>
          <a:xfrm>
            <a:off x="4691279" y="1080345"/>
            <a:ext cx="4105275" cy="230832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algn="just">
              <a:defRPr sz="900" b="1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  <a:lvl2pPr lvl="1">
              <a:defRPr sz="900">
                <a:solidFill>
                  <a:schemeClr val="accent1">
                    <a:lumMod val="75000"/>
                  </a:schemeClr>
                </a:solidFill>
                <a:latin typeface="+mj-lt"/>
              </a:defRPr>
            </a:lvl2pPr>
            <a:lvl3pPr marL="1085850" lvl="2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3pPr>
            <a:lvl4pPr marL="1543050" lvl="3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1044890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47" y="311494"/>
            <a:ext cx="8845687" cy="383436"/>
          </a:xfrm>
        </p:spPr>
        <p:txBody>
          <a:bodyPr vert="horz" lIns="0" tIns="0" rIns="0" bIns="45716" rtlCol="0" anchor="ctr">
            <a:normAutofit fontScale="90000"/>
          </a:bodyPr>
          <a:lstStyle/>
          <a:p>
            <a:r>
              <a:rPr lang="en-US" dirty="0" smtClean="0"/>
              <a:t>Model Validations – 1 Month</a:t>
            </a:r>
            <a:endParaRPr lang="en-US" dirty="0">
              <a:latin typeface="+mj-l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175889" y="5208386"/>
            <a:ext cx="219075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30063" y="5223016"/>
            <a:ext cx="400050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2028061" y="3844506"/>
            <a:ext cx="4433900" cy="1951786"/>
            <a:chOff x="312071" y="2682428"/>
            <a:chExt cx="8645670" cy="1648025"/>
          </a:xfrm>
        </p:grpSpPr>
        <p:sp>
          <p:nvSpPr>
            <p:cNvPr id="15" name="Rounded Rectangle 14"/>
            <p:cNvSpPr/>
            <p:nvPr/>
          </p:nvSpPr>
          <p:spPr>
            <a:xfrm>
              <a:off x="312071" y="2682428"/>
              <a:ext cx="2074774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184955" y="2682428"/>
              <a:ext cx="205196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Exploratory Analysis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057838" y="2682428"/>
              <a:ext cx="204103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Scaling and Outlier Treatment</a:t>
              </a: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12071" y="3730376"/>
              <a:ext cx="7786804" cy="600077"/>
              <a:chOff x="228599" y="4191000"/>
              <a:chExt cx="7306220" cy="800102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9" name="Rectangle 41"/>
              <p:cNvSpPr/>
              <p:nvPr/>
            </p:nvSpPr>
            <p:spPr>
              <a:xfrm>
                <a:off x="5619750" y="4191000"/>
                <a:ext cx="1915069" cy="781050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Training</a:t>
                </a:r>
              </a:p>
            </p:txBody>
          </p:sp>
          <p:sp>
            <p:nvSpPr>
              <p:cNvPr id="20" name="Rectangle 44"/>
              <p:cNvSpPr/>
              <p:nvPr/>
            </p:nvSpPr>
            <p:spPr>
              <a:xfrm>
                <a:off x="2924175" y="4200525"/>
                <a:ext cx="1925325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valuation and Validation</a:t>
                </a:r>
              </a:p>
            </p:txBody>
          </p:sp>
          <p:sp>
            <p:nvSpPr>
              <p:cNvPr id="21" name="Rectangle 46"/>
              <p:cNvSpPr/>
              <p:nvPr/>
            </p:nvSpPr>
            <p:spPr>
              <a:xfrm>
                <a:off x="228599" y="4210051"/>
                <a:ext cx="1946723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xecution and Testing</a:t>
                </a:r>
              </a:p>
            </p:txBody>
          </p:sp>
        </p:grpSp>
        <p:sp>
          <p:nvSpPr>
            <p:cNvPr id="22" name="Right Arrow 21"/>
            <p:cNvSpPr/>
            <p:nvPr/>
          </p:nvSpPr>
          <p:spPr>
            <a:xfrm>
              <a:off x="2525524" y="2880908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3" name="Right Arrow 22"/>
            <p:cNvSpPr/>
            <p:nvPr/>
          </p:nvSpPr>
          <p:spPr>
            <a:xfrm>
              <a:off x="5378706" y="2883561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4" name="Right Arrow 23"/>
            <p:cNvSpPr/>
            <p:nvPr/>
          </p:nvSpPr>
          <p:spPr>
            <a:xfrm rot="10800000">
              <a:off x="5368629" y="3933887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 rot="10800000">
              <a:off x="2490624" y="3936540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6" name="Curved Left Arrow 25"/>
            <p:cNvSpPr/>
            <p:nvPr/>
          </p:nvSpPr>
          <p:spPr>
            <a:xfrm>
              <a:off x="8247589" y="2975322"/>
              <a:ext cx="710152" cy="958565"/>
            </a:xfrm>
            <a:prstGeom prst="curvedLef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497621" y="1981200"/>
            <a:ext cx="3293579" cy="323561"/>
            <a:chOff x="5622636" y="935864"/>
            <a:chExt cx="3136873" cy="243074"/>
          </a:xfrm>
        </p:grpSpPr>
        <p:sp>
          <p:nvSpPr>
            <p:cNvPr id="39" name="Rectangle 38"/>
            <p:cNvSpPr/>
            <p:nvPr/>
          </p:nvSpPr>
          <p:spPr>
            <a:xfrm>
              <a:off x="5622636" y="93867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</a:t>
              </a:r>
            </a:p>
            <a:p>
              <a:pPr algn="ctr"/>
              <a:r>
                <a:rPr lang="en-US" sz="800" dirty="0">
                  <a:latin typeface="Trebuchet MS" panose="020B0603020202020204" pitchFamily="34" charset="0"/>
                </a:rPr>
                <a:t>06/1/2015- 06/30/2016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186312" y="935864"/>
              <a:ext cx="1573197" cy="240261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>
                  <a:latin typeface="Trebuchet MS" panose="020B0603020202020204" pitchFamily="34" charset="0"/>
                </a:rPr>
                <a:t>7/1/2016- 7</a:t>
              </a:r>
              <a:r>
                <a:rPr lang="en-US" sz="800" dirty="0" smtClean="0">
                  <a:latin typeface="Trebuchet MS" panose="020B0603020202020204" pitchFamily="34" charset="0"/>
                </a:rPr>
                <a:t>/31/2016</a:t>
              </a:r>
              <a:endParaRPr lang="en-US" sz="800" dirty="0">
                <a:latin typeface="Trebuchet MS" panose="020B0603020202020204" pitchFamily="34" charset="0"/>
              </a:endParaRPr>
            </a:p>
          </p:txBody>
        </p:sp>
      </p:grpSp>
      <p:sp>
        <p:nvSpPr>
          <p:cNvPr id="5" name="Rectangle 4"/>
          <p:cNvSpPr/>
          <p:nvPr/>
        </p:nvSpPr>
        <p:spPr>
          <a:xfrm>
            <a:off x="2548916" y="2766230"/>
            <a:ext cx="1516734" cy="150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Training Window</a:t>
            </a:r>
          </a:p>
        </p:txBody>
      </p:sp>
      <p:sp>
        <p:nvSpPr>
          <p:cNvPr id="42" name="Rectangle 41"/>
          <p:cNvSpPr/>
          <p:nvPr/>
        </p:nvSpPr>
        <p:spPr>
          <a:xfrm>
            <a:off x="4175889" y="2766231"/>
            <a:ext cx="1516734" cy="150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Validation Window</a:t>
            </a:r>
          </a:p>
        </p:txBody>
      </p:sp>
      <p:sp>
        <p:nvSpPr>
          <p:cNvPr id="49" name="Rectangle 48"/>
          <p:cNvSpPr/>
          <p:nvPr/>
        </p:nvSpPr>
        <p:spPr>
          <a:xfrm>
            <a:off x="132376" y="1175289"/>
            <a:ext cx="4245615" cy="6463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900" b="0" dirty="0" smtClean="0"/>
              <a:t>Scope: BR US</a:t>
            </a:r>
          </a:p>
          <a:p>
            <a:r>
              <a:rPr lang="en-US" sz="900" b="0" dirty="0" smtClean="0"/>
              <a:t>Algorithm: Classification Models/GBM</a:t>
            </a:r>
          </a:p>
          <a:p>
            <a:r>
              <a:rPr lang="en-US" sz="900" b="0" dirty="0" smtClean="0"/>
              <a:t>Data: Yearly Transaction Data +  3 months Browse Data</a:t>
            </a:r>
          </a:p>
          <a:p>
            <a:r>
              <a:rPr lang="en-US" sz="900" b="0" dirty="0" smtClean="0"/>
              <a:t>Platforms &amp; Packages: Hive, R</a:t>
            </a:r>
            <a:endParaRPr lang="en-US" sz="900" b="0" dirty="0"/>
          </a:p>
        </p:txBody>
      </p:sp>
      <p:sp>
        <p:nvSpPr>
          <p:cNvPr id="14" name="Rectangle 13"/>
          <p:cNvSpPr/>
          <p:nvPr/>
        </p:nvSpPr>
        <p:spPr>
          <a:xfrm>
            <a:off x="2743200" y="4648200"/>
            <a:ext cx="2524798" cy="36933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raining Dataset : 2</a:t>
            </a:r>
            <a:r>
              <a:rPr lang="en-US" sz="9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0,000 customer-keys</a:t>
            </a:r>
            <a:endParaRPr lang="en-US" sz="9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esting  Dataset : </a:t>
            </a:r>
            <a:r>
              <a:rPr lang="en-US" sz="9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4,657,520 customer-keys</a:t>
            </a:r>
            <a:endParaRPr lang="en-US" sz="9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45" name="TextBox 7"/>
          <p:cNvSpPr txBox="1"/>
          <p:nvPr/>
        </p:nvSpPr>
        <p:spPr>
          <a:xfrm>
            <a:off x="4691279" y="1080345"/>
            <a:ext cx="4105275" cy="230832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algn="just">
              <a:defRPr sz="900" b="1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  <a:lvl2pPr lvl="1">
              <a:defRPr sz="900">
                <a:solidFill>
                  <a:schemeClr val="accent1">
                    <a:lumMod val="75000"/>
                  </a:schemeClr>
                </a:solidFill>
                <a:latin typeface="+mj-lt"/>
              </a:defRPr>
            </a:lvl2pPr>
            <a:lvl3pPr marL="1085850" lvl="2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3pPr>
            <a:lvl4pPr marL="1543050" lvl="3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endParaRPr lang="en-US" b="0" dirty="0"/>
          </a:p>
        </p:txBody>
      </p:sp>
      <p:grpSp>
        <p:nvGrpSpPr>
          <p:cNvPr id="31" name="Group 30"/>
          <p:cNvGrpSpPr/>
          <p:nvPr/>
        </p:nvGrpSpPr>
        <p:grpSpPr>
          <a:xfrm>
            <a:off x="2497621" y="2362200"/>
            <a:ext cx="3293579" cy="323561"/>
            <a:chOff x="5622636" y="935864"/>
            <a:chExt cx="3136873" cy="243074"/>
          </a:xfrm>
        </p:grpSpPr>
        <p:sp>
          <p:nvSpPr>
            <p:cNvPr id="32" name="Rectangle 31"/>
            <p:cNvSpPr/>
            <p:nvPr/>
          </p:nvSpPr>
          <p:spPr>
            <a:xfrm>
              <a:off x="5622636" y="93867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</a:t>
              </a:r>
            </a:p>
            <a:p>
              <a:pPr algn="ctr"/>
              <a:r>
                <a:rPr lang="en-US" sz="800" dirty="0" smtClean="0">
                  <a:latin typeface="Trebuchet MS" panose="020B0603020202020204" pitchFamily="34" charset="0"/>
                </a:rPr>
                <a:t>02/1/2016- 01/31/2017</a:t>
              </a:r>
              <a:endParaRPr lang="en-US" sz="800" dirty="0">
                <a:latin typeface="Trebuchet MS" panose="020B0603020202020204" pitchFamily="34" charset="0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7186312" y="935864"/>
              <a:ext cx="1573197" cy="240261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 smtClean="0">
                  <a:latin typeface="Trebuchet MS" panose="020B0603020202020204" pitchFamily="34" charset="0"/>
                </a:rPr>
                <a:t>2/1/2017- 2/28/2017</a:t>
              </a:r>
              <a:endParaRPr lang="en-US" sz="800" dirty="0">
                <a:latin typeface="Trebuchet MS" panose="020B0603020202020204" pitchFamily="34" charset="0"/>
              </a:endParaRPr>
            </a:p>
          </p:txBody>
        </p:sp>
      </p:grpSp>
      <p:sp>
        <p:nvSpPr>
          <p:cNvPr id="47" name="Rectangle 46"/>
          <p:cNvSpPr/>
          <p:nvPr/>
        </p:nvSpPr>
        <p:spPr>
          <a:xfrm>
            <a:off x="921666" y="2057400"/>
            <a:ext cx="1516734" cy="150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accent1">
                    <a:lumMod val="50000"/>
                  </a:schemeClr>
                </a:solidFill>
              </a:rPr>
              <a:t>In Time Window</a:t>
            </a:r>
            <a:endParaRPr lang="en-US" sz="8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980887" y="2450703"/>
            <a:ext cx="1516734" cy="150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accent1">
                    <a:lumMod val="50000"/>
                  </a:schemeClr>
                </a:solidFill>
              </a:rPr>
              <a:t>Out of Time </a:t>
            </a:r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Window</a:t>
            </a:r>
          </a:p>
        </p:txBody>
      </p:sp>
    </p:spTree>
    <p:extLst>
      <p:ext uri="{BB962C8B-B14F-4D97-AF65-F5344CB8AC3E}">
        <p14:creationId xmlns:p14="http://schemas.microsoft.com/office/powerpoint/2010/main" val="31849538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6519340"/>
              </p:ext>
            </p:ext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2116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7" y="226485"/>
            <a:ext cx="8845687" cy="565204"/>
          </a:xfrm>
        </p:spPr>
        <p:txBody>
          <a:bodyPr lIns="0" tIns="0" rIns="0">
            <a:normAutofit fontScale="90000"/>
          </a:bodyPr>
          <a:lstStyle/>
          <a:p>
            <a:r>
              <a:rPr lang="en-US" dirty="0">
                <a:latin typeface="+mn-lt"/>
              </a:rPr>
              <a:t>MODEL </a:t>
            </a:r>
            <a:r>
              <a:rPr lang="en-US" dirty="0" smtClean="0">
                <a:latin typeface="+mn-lt"/>
              </a:rPr>
              <a:t>VALIDATIONS- 1 Month In Time</a:t>
            </a:r>
            <a:endParaRPr lang="en-US" dirty="0">
              <a:latin typeface="+mn-l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50713" y="3564389"/>
            <a:ext cx="8435477" cy="369332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Summary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mong many models , </a:t>
            </a:r>
            <a:r>
              <a:rPr lang="en-US" sz="900" dirty="0" err="1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Xgboost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 </a:t>
            </a: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lgorithm was picked based on model performance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.</a:t>
            </a:r>
            <a:endParaRPr lang="en-US" sz="9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25669" y="4519457"/>
            <a:ext cx="8308426" cy="179879"/>
            <a:chOff x="425668" y="3321270"/>
            <a:chExt cx="8308426" cy="134909"/>
          </a:xfrm>
        </p:grpSpPr>
        <p:sp>
          <p:nvSpPr>
            <p:cNvPr id="3" name="Rectangle 2"/>
            <p:cNvSpPr/>
            <p:nvPr/>
          </p:nvSpPr>
          <p:spPr>
            <a:xfrm>
              <a:off x="425668" y="3321270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deciles  by  median score from 20 model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680068" y="3321275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percentiles by  median score from 20 models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971253" y="3321280"/>
              <a:ext cx="1471589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Gains  using median score from 20 models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073258" y="3321285"/>
              <a:ext cx="1660836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Lift using median score from 20 models</a:t>
              </a:r>
            </a:p>
          </p:txBody>
        </p:sp>
      </p:grpSp>
      <p:pic>
        <p:nvPicPr>
          <p:cNvPr id="11" name="Pictur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4778703"/>
            <a:ext cx="2029583" cy="144970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0" y="4778700"/>
            <a:ext cx="2254951" cy="144970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6013" y="4778703"/>
            <a:ext cx="2386787" cy="1393497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5899" y="4854903"/>
            <a:ext cx="2131901" cy="1241097"/>
          </a:xfrm>
          <a:prstGeom prst="rect">
            <a:avLst/>
          </a:prstGeom>
        </p:spPr>
      </p:pic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380655"/>
              </p:ext>
            </p:extLst>
          </p:nvPr>
        </p:nvGraphicFramePr>
        <p:xfrm>
          <a:off x="443989" y="914400"/>
          <a:ext cx="4876800" cy="2362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9600"/>
                <a:gridCol w="609600"/>
                <a:gridCol w="609600"/>
                <a:gridCol w="609600"/>
                <a:gridCol w="609600"/>
                <a:gridCol w="609600"/>
                <a:gridCol w="609600"/>
                <a:gridCol w="609600"/>
              </a:tblGrid>
              <a:tr h="44767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 dirty="0" err="1">
                          <a:effectLst/>
                        </a:rPr>
                        <a:t>Decil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stomer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Number of Responde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m Responder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Response Ra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Response Gai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mulative Response Ra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Lif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effectLst/>
                        </a:rPr>
                        <a:t>465,75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77,32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77,32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9.5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5.7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effectLst/>
                        </a:rPr>
                        <a:t>59.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effectLst/>
                        </a:rPr>
                        <a:t>2.5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99,5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76,87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2.8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4.2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1.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.2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40,9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17,78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0.2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7.2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4.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9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10,07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27,85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3.6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7.4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9.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6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2,86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20,72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9.9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6.0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5.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4,94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95,66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6.0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effectLst/>
                        </a:rPr>
                        <a:t>83.02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2.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3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2,91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48,57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1.3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7.9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9.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2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2,18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90,76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.0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1.8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6.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1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7,77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038,53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.2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6.2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4.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0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0,31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078,8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.6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0.0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3.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effectLst/>
                        </a:rPr>
                        <a:t>1.0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28977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479279"/>
              </p:ext>
            </p:ext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2116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7" y="226485"/>
            <a:ext cx="8845687" cy="565204"/>
          </a:xfrm>
        </p:spPr>
        <p:txBody>
          <a:bodyPr lIns="0" tIns="0" rIns="0">
            <a:noAutofit/>
          </a:bodyPr>
          <a:lstStyle/>
          <a:p>
            <a:r>
              <a:rPr lang="en-US" sz="3600" dirty="0">
                <a:latin typeface="+mn-lt"/>
              </a:rPr>
              <a:t>MODEL </a:t>
            </a:r>
            <a:r>
              <a:rPr lang="en-US" sz="3600" dirty="0" smtClean="0">
                <a:latin typeface="+mn-lt"/>
              </a:rPr>
              <a:t>VALIDATIONS- 1 Month Out of Time</a:t>
            </a:r>
            <a:endParaRPr lang="en-US" sz="3600" dirty="0">
              <a:latin typeface="+mn-l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50713" y="3564389"/>
            <a:ext cx="8435477" cy="369332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Summary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mong many models , </a:t>
            </a:r>
            <a:r>
              <a:rPr lang="en-US" sz="900" dirty="0" err="1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Xgboost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 </a:t>
            </a: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lgorithm was picked based on model performance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.</a:t>
            </a:r>
            <a:endParaRPr lang="en-US" sz="9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25669" y="4519457"/>
            <a:ext cx="8308426" cy="179879"/>
            <a:chOff x="425668" y="3321270"/>
            <a:chExt cx="8308426" cy="134909"/>
          </a:xfrm>
        </p:grpSpPr>
        <p:sp>
          <p:nvSpPr>
            <p:cNvPr id="3" name="Rectangle 2"/>
            <p:cNvSpPr/>
            <p:nvPr/>
          </p:nvSpPr>
          <p:spPr>
            <a:xfrm>
              <a:off x="425668" y="3321270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deciles  by  median score from 20 model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680068" y="3321275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percentiles by  median score from 20 models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971253" y="3321280"/>
              <a:ext cx="1471589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Gains  using median score from 20 models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073258" y="3321285"/>
              <a:ext cx="1660836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Lift using median score from 20 models</a:t>
              </a:r>
            </a:p>
          </p:txBody>
        </p:sp>
      </p:grp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6136128"/>
              </p:ext>
            </p:extLst>
          </p:nvPr>
        </p:nvGraphicFramePr>
        <p:xfrm>
          <a:off x="609600" y="914400"/>
          <a:ext cx="4876800" cy="24479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9600"/>
                <a:gridCol w="609600"/>
                <a:gridCol w="609600"/>
                <a:gridCol w="609600"/>
                <a:gridCol w="609600"/>
                <a:gridCol w="609600"/>
                <a:gridCol w="609600"/>
                <a:gridCol w="609600"/>
              </a:tblGrid>
              <a:tr h="44767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Decil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stomer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Number of Responde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m Responder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Response Ra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Response Gai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mulative Response Ra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Lif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3693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36,93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1.8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2.2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1.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.2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7615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13,09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7.7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0.1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4.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.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597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69,06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3.0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3.3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0.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.1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58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04,87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.3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1.7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7.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7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876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33,63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.7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8.5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5.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5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768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61,31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.4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5.0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4.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4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193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83,2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.1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0.1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2.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2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634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99,59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.8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4.0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1.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1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366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13,25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.1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7.2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.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0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169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24,95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.7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0.0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.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effectLst/>
                        </a:rPr>
                        <a:t>1.0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70" y="4971007"/>
            <a:ext cx="2131627" cy="152259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8311" y="5046485"/>
            <a:ext cx="1920286" cy="137163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6316" y="5046485"/>
            <a:ext cx="2236943" cy="144711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409" y="5046485"/>
            <a:ext cx="2236943" cy="137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4855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47" y="311494"/>
            <a:ext cx="8845687" cy="383436"/>
          </a:xfrm>
        </p:spPr>
        <p:txBody>
          <a:bodyPr vert="horz" lIns="0" tIns="0" rIns="0" bIns="45716" rtlCol="0" anchor="ctr">
            <a:normAutofit fontScale="90000"/>
          </a:bodyPr>
          <a:lstStyle/>
          <a:p>
            <a:r>
              <a:rPr lang="en-US" dirty="0" smtClean="0"/>
              <a:t>Model Validations – 3 Months</a:t>
            </a:r>
            <a:endParaRPr lang="en-US" dirty="0">
              <a:latin typeface="+mj-l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175889" y="5208386"/>
            <a:ext cx="219075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30063" y="5223016"/>
            <a:ext cx="400050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2028061" y="3844506"/>
            <a:ext cx="4433900" cy="1951786"/>
            <a:chOff x="312071" y="2682428"/>
            <a:chExt cx="8645670" cy="1648025"/>
          </a:xfrm>
        </p:grpSpPr>
        <p:sp>
          <p:nvSpPr>
            <p:cNvPr id="15" name="Rounded Rectangle 14"/>
            <p:cNvSpPr/>
            <p:nvPr/>
          </p:nvSpPr>
          <p:spPr>
            <a:xfrm>
              <a:off x="312071" y="2682428"/>
              <a:ext cx="2074774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184955" y="2682428"/>
              <a:ext cx="205196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Exploratory Analysis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057838" y="2682428"/>
              <a:ext cx="204103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Scaling and Outlier Treatment</a:t>
              </a: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12071" y="3730376"/>
              <a:ext cx="7786804" cy="600077"/>
              <a:chOff x="228599" y="4191000"/>
              <a:chExt cx="7306220" cy="800102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9" name="Rectangle 41"/>
              <p:cNvSpPr/>
              <p:nvPr/>
            </p:nvSpPr>
            <p:spPr>
              <a:xfrm>
                <a:off x="5619750" y="4191000"/>
                <a:ext cx="1915069" cy="781050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Training</a:t>
                </a:r>
              </a:p>
            </p:txBody>
          </p:sp>
          <p:sp>
            <p:nvSpPr>
              <p:cNvPr id="20" name="Rectangle 44"/>
              <p:cNvSpPr/>
              <p:nvPr/>
            </p:nvSpPr>
            <p:spPr>
              <a:xfrm>
                <a:off x="2924175" y="4200525"/>
                <a:ext cx="1925325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valuation and Validation</a:t>
                </a:r>
              </a:p>
            </p:txBody>
          </p:sp>
          <p:sp>
            <p:nvSpPr>
              <p:cNvPr id="21" name="Rectangle 46"/>
              <p:cNvSpPr/>
              <p:nvPr/>
            </p:nvSpPr>
            <p:spPr>
              <a:xfrm>
                <a:off x="228599" y="4210051"/>
                <a:ext cx="1946723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xecution and Testing</a:t>
                </a:r>
              </a:p>
            </p:txBody>
          </p:sp>
        </p:grpSp>
        <p:sp>
          <p:nvSpPr>
            <p:cNvPr id="22" name="Right Arrow 21"/>
            <p:cNvSpPr/>
            <p:nvPr/>
          </p:nvSpPr>
          <p:spPr>
            <a:xfrm>
              <a:off x="2525524" y="2880908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3" name="Right Arrow 22"/>
            <p:cNvSpPr/>
            <p:nvPr/>
          </p:nvSpPr>
          <p:spPr>
            <a:xfrm>
              <a:off x="5378706" y="2883561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4" name="Right Arrow 23"/>
            <p:cNvSpPr/>
            <p:nvPr/>
          </p:nvSpPr>
          <p:spPr>
            <a:xfrm rot="10800000">
              <a:off x="5368629" y="3933887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 rot="10800000">
              <a:off x="2490624" y="3936540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6" name="Curved Left Arrow 25"/>
            <p:cNvSpPr/>
            <p:nvPr/>
          </p:nvSpPr>
          <p:spPr>
            <a:xfrm>
              <a:off x="8247589" y="2975322"/>
              <a:ext cx="710152" cy="958565"/>
            </a:xfrm>
            <a:prstGeom prst="curvedLef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497621" y="1981200"/>
            <a:ext cx="3293579" cy="323561"/>
            <a:chOff x="5622636" y="935864"/>
            <a:chExt cx="3136873" cy="243074"/>
          </a:xfrm>
        </p:grpSpPr>
        <p:sp>
          <p:nvSpPr>
            <p:cNvPr id="39" name="Rectangle 38"/>
            <p:cNvSpPr/>
            <p:nvPr/>
          </p:nvSpPr>
          <p:spPr>
            <a:xfrm>
              <a:off x="5622636" y="93867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</a:t>
              </a:r>
            </a:p>
            <a:p>
              <a:pPr algn="ctr"/>
              <a:r>
                <a:rPr lang="en-US" sz="800" dirty="0">
                  <a:latin typeface="Trebuchet MS" panose="020B0603020202020204" pitchFamily="34" charset="0"/>
                </a:rPr>
                <a:t>06/1/2015- 06/30/2016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186312" y="935864"/>
              <a:ext cx="1573197" cy="240261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>
                  <a:latin typeface="Trebuchet MS" panose="020B0603020202020204" pitchFamily="34" charset="0"/>
                </a:rPr>
                <a:t>7/1/2016- </a:t>
              </a:r>
              <a:r>
                <a:rPr lang="en-US" sz="800" dirty="0" smtClean="0">
                  <a:latin typeface="Trebuchet MS" panose="020B0603020202020204" pitchFamily="34" charset="0"/>
                </a:rPr>
                <a:t>9/30/2016</a:t>
              </a:r>
              <a:endParaRPr lang="en-US" sz="800" dirty="0">
                <a:latin typeface="Trebuchet MS" panose="020B0603020202020204" pitchFamily="34" charset="0"/>
              </a:endParaRPr>
            </a:p>
          </p:txBody>
        </p:sp>
      </p:grpSp>
      <p:sp>
        <p:nvSpPr>
          <p:cNvPr id="5" name="Rectangle 4"/>
          <p:cNvSpPr/>
          <p:nvPr/>
        </p:nvSpPr>
        <p:spPr>
          <a:xfrm>
            <a:off x="2548916" y="2766230"/>
            <a:ext cx="1516734" cy="150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Training Window</a:t>
            </a:r>
          </a:p>
        </p:txBody>
      </p:sp>
      <p:sp>
        <p:nvSpPr>
          <p:cNvPr id="42" name="Rectangle 41"/>
          <p:cNvSpPr/>
          <p:nvPr/>
        </p:nvSpPr>
        <p:spPr>
          <a:xfrm>
            <a:off x="4175889" y="2766231"/>
            <a:ext cx="1516734" cy="150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Validation Window</a:t>
            </a:r>
          </a:p>
        </p:txBody>
      </p:sp>
      <p:sp>
        <p:nvSpPr>
          <p:cNvPr id="49" name="Rectangle 48"/>
          <p:cNvSpPr/>
          <p:nvPr/>
        </p:nvSpPr>
        <p:spPr>
          <a:xfrm>
            <a:off x="132376" y="1175289"/>
            <a:ext cx="4245615" cy="6463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900" b="0" dirty="0" smtClean="0"/>
              <a:t>Scope: BR US</a:t>
            </a:r>
          </a:p>
          <a:p>
            <a:r>
              <a:rPr lang="en-US" sz="900" b="0" dirty="0" smtClean="0"/>
              <a:t>Algorithm: Classification Models/GBM</a:t>
            </a:r>
          </a:p>
          <a:p>
            <a:r>
              <a:rPr lang="en-US" sz="900" b="0" dirty="0" smtClean="0"/>
              <a:t>Data: Yearly Transaction Data +  3 months Browse Data</a:t>
            </a:r>
          </a:p>
          <a:p>
            <a:r>
              <a:rPr lang="en-US" sz="900" b="0" dirty="0" smtClean="0"/>
              <a:t>Platforms &amp; Packages: Hive, R</a:t>
            </a:r>
            <a:endParaRPr lang="en-US" sz="900" b="0" dirty="0"/>
          </a:p>
        </p:txBody>
      </p:sp>
      <p:sp>
        <p:nvSpPr>
          <p:cNvPr id="14" name="Rectangle 13"/>
          <p:cNvSpPr/>
          <p:nvPr/>
        </p:nvSpPr>
        <p:spPr>
          <a:xfrm>
            <a:off x="2743200" y="4648200"/>
            <a:ext cx="2524798" cy="36933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</a:rPr>
              <a:t>Training Dataset : 20,000 customer-keys</a:t>
            </a:r>
          </a:p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</a:rPr>
              <a:t>Testing  Dataset : 4,657,520 customer-keys</a:t>
            </a:r>
          </a:p>
        </p:txBody>
      </p:sp>
      <p:sp>
        <p:nvSpPr>
          <p:cNvPr id="45" name="TextBox 7"/>
          <p:cNvSpPr txBox="1"/>
          <p:nvPr/>
        </p:nvSpPr>
        <p:spPr>
          <a:xfrm>
            <a:off x="4691279" y="1080345"/>
            <a:ext cx="4105275" cy="230832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algn="just">
              <a:defRPr sz="900" b="1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  <a:lvl2pPr lvl="1">
              <a:defRPr sz="900">
                <a:solidFill>
                  <a:schemeClr val="accent1">
                    <a:lumMod val="75000"/>
                  </a:schemeClr>
                </a:solidFill>
                <a:latin typeface="+mj-lt"/>
              </a:defRPr>
            </a:lvl2pPr>
            <a:lvl3pPr marL="1085850" lvl="2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3pPr>
            <a:lvl4pPr marL="1543050" lvl="3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endParaRPr lang="en-US" b="0" dirty="0"/>
          </a:p>
        </p:txBody>
      </p:sp>
      <p:grpSp>
        <p:nvGrpSpPr>
          <p:cNvPr id="31" name="Group 30"/>
          <p:cNvGrpSpPr/>
          <p:nvPr/>
        </p:nvGrpSpPr>
        <p:grpSpPr>
          <a:xfrm>
            <a:off x="2497621" y="2362200"/>
            <a:ext cx="3293579" cy="323561"/>
            <a:chOff x="5622636" y="935864"/>
            <a:chExt cx="3136873" cy="243074"/>
          </a:xfrm>
        </p:grpSpPr>
        <p:sp>
          <p:nvSpPr>
            <p:cNvPr id="32" name="Rectangle 31"/>
            <p:cNvSpPr/>
            <p:nvPr/>
          </p:nvSpPr>
          <p:spPr>
            <a:xfrm>
              <a:off x="5622636" y="93867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</a:t>
              </a:r>
            </a:p>
            <a:p>
              <a:pPr algn="ctr"/>
              <a:r>
                <a:rPr lang="en-US" sz="800" dirty="0" smtClean="0">
                  <a:latin typeface="Trebuchet MS" panose="020B0603020202020204" pitchFamily="34" charset="0"/>
                </a:rPr>
                <a:t>02/1/2016- 01/31/2017</a:t>
              </a:r>
              <a:endParaRPr lang="en-US" sz="800" dirty="0">
                <a:latin typeface="Trebuchet MS" panose="020B0603020202020204" pitchFamily="34" charset="0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7186312" y="935864"/>
              <a:ext cx="1573197" cy="240261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 smtClean="0">
                  <a:latin typeface="Trebuchet MS" panose="020B0603020202020204" pitchFamily="34" charset="0"/>
                </a:rPr>
                <a:t>2/1/2017- 4/30/2017</a:t>
              </a:r>
              <a:endParaRPr lang="en-US" sz="800" dirty="0">
                <a:latin typeface="Trebuchet MS" panose="020B0603020202020204" pitchFamily="34" charset="0"/>
              </a:endParaRPr>
            </a:p>
          </p:txBody>
        </p:sp>
      </p:grpSp>
      <p:sp>
        <p:nvSpPr>
          <p:cNvPr id="47" name="Rectangle 46"/>
          <p:cNvSpPr/>
          <p:nvPr/>
        </p:nvSpPr>
        <p:spPr>
          <a:xfrm>
            <a:off x="921666" y="2057400"/>
            <a:ext cx="1516734" cy="150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accent1">
                    <a:lumMod val="50000"/>
                  </a:schemeClr>
                </a:solidFill>
              </a:rPr>
              <a:t>In Time Window</a:t>
            </a:r>
            <a:endParaRPr lang="en-US" sz="8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980887" y="2450703"/>
            <a:ext cx="1516734" cy="150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accent1">
                    <a:lumMod val="50000"/>
                  </a:schemeClr>
                </a:solidFill>
              </a:rPr>
              <a:t>Out of Time </a:t>
            </a:r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Window</a:t>
            </a:r>
          </a:p>
        </p:txBody>
      </p:sp>
    </p:spTree>
    <p:extLst>
      <p:ext uri="{BB962C8B-B14F-4D97-AF65-F5344CB8AC3E}">
        <p14:creationId xmlns:p14="http://schemas.microsoft.com/office/powerpoint/2010/main" val="31849538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4747104"/>
              </p:ext>
            </p:ext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2116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7" y="226485"/>
            <a:ext cx="8845687" cy="565204"/>
          </a:xfrm>
        </p:spPr>
        <p:txBody>
          <a:bodyPr lIns="0" tIns="0" rIns="0">
            <a:normAutofit fontScale="90000"/>
          </a:bodyPr>
          <a:lstStyle/>
          <a:p>
            <a:r>
              <a:rPr lang="en-US" dirty="0">
                <a:latin typeface="+mn-lt"/>
              </a:rPr>
              <a:t>MODEL </a:t>
            </a:r>
            <a:r>
              <a:rPr lang="en-US" dirty="0" smtClean="0">
                <a:latin typeface="+mn-lt"/>
              </a:rPr>
              <a:t>VALIDATIONS- 3 Months In Time</a:t>
            </a:r>
            <a:endParaRPr lang="en-US" dirty="0">
              <a:latin typeface="+mn-l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50713" y="3564389"/>
            <a:ext cx="8435477" cy="369332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Summary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mong many models , </a:t>
            </a:r>
            <a:r>
              <a:rPr lang="en-US" sz="900" dirty="0" err="1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Xgboost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 </a:t>
            </a: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lgorithm was picked based on model performance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.</a:t>
            </a:r>
            <a:endParaRPr lang="en-US" sz="9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25669" y="4519457"/>
            <a:ext cx="8308426" cy="179879"/>
            <a:chOff x="425668" y="3321270"/>
            <a:chExt cx="8308426" cy="134909"/>
          </a:xfrm>
        </p:grpSpPr>
        <p:sp>
          <p:nvSpPr>
            <p:cNvPr id="3" name="Rectangle 2"/>
            <p:cNvSpPr/>
            <p:nvPr/>
          </p:nvSpPr>
          <p:spPr>
            <a:xfrm>
              <a:off x="425668" y="3321270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deciles  by  median score from 20 model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680068" y="3321275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percentiles by  median score from 20 models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971253" y="3321280"/>
              <a:ext cx="1471589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Gains  using median score from 20 models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073258" y="3321285"/>
              <a:ext cx="1660836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Lift using median score from 20 models</a:t>
              </a:r>
            </a:p>
          </p:txBody>
        </p: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859" y="4888994"/>
            <a:ext cx="1920263" cy="137161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631" y="4888994"/>
            <a:ext cx="1903169" cy="135940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6059" y="4888994"/>
            <a:ext cx="2181942" cy="130235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4791" y="4888995"/>
            <a:ext cx="2193799" cy="1359406"/>
          </a:xfrm>
          <a:prstGeom prst="rect">
            <a:avLst/>
          </a:prstGeom>
        </p:spPr>
      </p:pic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3550635"/>
              </p:ext>
            </p:extLst>
          </p:nvPr>
        </p:nvGraphicFramePr>
        <p:xfrm>
          <a:off x="685800" y="990600"/>
          <a:ext cx="4876800" cy="2362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9600"/>
                <a:gridCol w="609600"/>
                <a:gridCol w="609600"/>
                <a:gridCol w="609600"/>
                <a:gridCol w="609600"/>
                <a:gridCol w="609600"/>
                <a:gridCol w="609600"/>
                <a:gridCol w="609600"/>
              </a:tblGrid>
              <a:tr h="44767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Decil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stomer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Number of Responde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m Responder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Response Ra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Response Gai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mulative Response Ra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Lif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98,63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98,63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4.1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7.6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4.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.7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93,22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91,85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1.4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5.5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2.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.2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48,52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40,38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1.8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9.3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5.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9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7,91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48,30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3.1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9.3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0.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7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7,90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36,20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8.8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7.5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5.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5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7,64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03,84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4.5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3.7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2.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4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1,93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55,78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1.1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8.5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9.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2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5,97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001,75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.8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2.8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6.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1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7,25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039,01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.0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6.3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4.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0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5,7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9,83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078,8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.5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0.0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3.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effectLst/>
                        </a:rPr>
                        <a:t>1.0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99277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479279"/>
              </p:ext>
            </p:ext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2116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7" y="226485"/>
            <a:ext cx="8845687" cy="565204"/>
          </a:xfrm>
        </p:spPr>
        <p:txBody>
          <a:bodyPr lIns="0" tIns="0" rIns="0">
            <a:noAutofit/>
          </a:bodyPr>
          <a:lstStyle/>
          <a:p>
            <a:r>
              <a:rPr lang="en-US" sz="3600" dirty="0">
                <a:latin typeface="+mn-lt"/>
              </a:rPr>
              <a:t>MODEL </a:t>
            </a:r>
            <a:r>
              <a:rPr lang="en-US" sz="3600" dirty="0" smtClean="0">
                <a:latin typeface="+mn-lt"/>
              </a:rPr>
              <a:t>VALIDATIONS- 3 Month Out of Time</a:t>
            </a:r>
            <a:endParaRPr lang="en-US" sz="3600" dirty="0">
              <a:latin typeface="+mn-l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50713" y="3564389"/>
            <a:ext cx="8435477" cy="369332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Summary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mong many models , </a:t>
            </a:r>
            <a:r>
              <a:rPr lang="en-US" sz="900" dirty="0" err="1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Xgboost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 </a:t>
            </a: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lgorithm was picked based on model performance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.</a:t>
            </a:r>
            <a:endParaRPr lang="en-US" sz="9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25669" y="4519457"/>
            <a:ext cx="8308426" cy="179879"/>
            <a:chOff x="425668" y="3321270"/>
            <a:chExt cx="8308426" cy="134909"/>
          </a:xfrm>
        </p:grpSpPr>
        <p:sp>
          <p:nvSpPr>
            <p:cNvPr id="3" name="Rectangle 2"/>
            <p:cNvSpPr/>
            <p:nvPr/>
          </p:nvSpPr>
          <p:spPr>
            <a:xfrm>
              <a:off x="425668" y="3321270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deciles  by  median score from 20 model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680068" y="3321275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percentiles by  median score from 20 models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971253" y="3321280"/>
              <a:ext cx="1471589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Gains  using median score from 20 models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073258" y="3321285"/>
              <a:ext cx="1660836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Lift using median score from 20 models</a:t>
              </a:r>
            </a:p>
          </p:txBody>
        </p:sp>
      </p:grp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6470973"/>
              </p:ext>
            </p:extLst>
          </p:nvPr>
        </p:nvGraphicFramePr>
        <p:xfrm>
          <a:off x="609600" y="914400"/>
          <a:ext cx="4876800" cy="24479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9600"/>
                <a:gridCol w="609600"/>
                <a:gridCol w="609600"/>
                <a:gridCol w="609600"/>
                <a:gridCol w="609600"/>
                <a:gridCol w="609600"/>
                <a:gridCol w="609600"/>
                <a:gridCol w="609600"/>
              </a:tblGrid>
              <a:tr h="44767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 dirty="0" err="1">
                          <a:effectLst/>
                        </a:rPr>
                        <a:t>Decil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stomer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Number of Responde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m Responder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 dirty="0">
                          <a:effectLst/>
                        </a:rPr>
                        <a:t>Response Rat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Response Gai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Cumulative Response Ra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u="none" strike="noStrike">
                          <a:effectLst/>
                        </a:rPr>
                        <a:t>Lif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7159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71,59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3.2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6.6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3.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.6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895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1,09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4.1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5.3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3.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.2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3586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96,96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1.6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58.6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6.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9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594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92,90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2.3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8.0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40.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7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effectLst/>
                        </a:rPr>
                        <a:t>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7241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65,32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6.8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5.1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5.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5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7434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39,66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7.3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2.5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32.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3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780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97,47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3.4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8.1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9.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2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50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42,48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.4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2.6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7.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1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924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81,72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.1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96.4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5.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.0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294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606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,017,79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8.4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100.0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>
                          <a:effectLst/>
                        </a:rPr>
                        <a:t>23.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effectLst/>
                        </a:rPr>
                        <a:t>1.0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221" y="4876800"/>
            <a:ext cx="2057424" cy="146958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0621" y="4876800"/>
            <a:ext cx="2057424" cy="14695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0600" y="4876800"/>
            <a:ext cx="1948721" cy="139194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576" y="4962441"/>
            <a:ext cx="1828824" cy="1306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4855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47" y="311494"/>
            <a:ext cx="8845687" cy="383436"/>
          </a:xfrm>
        </p:spPr>
        <p:txBody>
          <a:bodyPr vert="horz" lIns="0" tIns="0" rIns="0" bIns="45716" rtlCol="0" anchor="ctr">
            <a:normAutofit fontScale="90000"/>
          </a:bodyPr>
          <a:lstStyle/>
          <a:p>
            <a:r>
              <a:rPr lang="en-US" dirty="0" smtClean="0"/>
              <a:t>Model Validations – 6 Months</a:t>
            </a:r>
            <a:endParaRPr lang="en-US" dirty="0">
              <a:latin typeface="+mj-l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175889" y="5208386"/>
            <a:ext cx="219075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30063" y="5223016"/>
            <a:ext cx="400050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2028061" y="3844506"/>
            <a:ext cx="4433900" cy="1951786"/>
            <a:chOff x="312071" y="2682428"/>
            <a:chExt cx="8645670" cy="1648025"/>
          </a:xfrm>
        </p:grpSpPr>
        <p:sp>
          <p:nvSpPr>
            <p:cNvPr id="15" name="Rounded Rectangle 14"/>
            <p:cNvSpPr/>
            <p:nvPr/>
          </p:nvSpPr>
          <p:spPr>
            <a:xfrm>
              <a:off x="312071" y="2682428"/>
              <a:ext cx="2074774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184955" y="2682428"/>
              <a:ext cx="205196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Exploratory Analysis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057838" y="2682428"/>
              <a:ext cx="204103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Scaling and Outlier Treatment</a:t>
              </a: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12071" y="3730376"/>
              <a:ext cx="7786804" cy="600077"/>
              <a:chOff x="228599" y="4191000"/>
              <a:chExt cx="7306220" cy="800102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9" name="Rectangle 41"/>
              <p:cNvSpPr/>
              <p:nvPr/>
            </p:nvSpPr>
            <p:spPr>
              <a:xfrm>
                <a:off x="5619750" y="4191000"/>
                <a:ext cx="1915069" cy="781050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Training</a:t>
                </a:r>
              </a:p>
            </p:txBody>
          </p:sp>
          <p:sp>
            <p:nvSpPr>
              <p:cNvPr id="20" name="Rectangle 44"/>
              <p:cNvSpPr/>
              <p:nvPr/>
            </p:nvSpPr>
            <p:spPr>
              <a:xfrm>
                <a:off x="2924175" y="4200525"/>
                <a:ext cx="1925325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valuation and Validation</a:t>
                </a:r>
              </a:p>
            </p:txBody>
          </p:sp>
          <p:sp>
            <p:nvSpPr>
              <p:cNvPr id="21" name="Rectangle 46"/>
              <p:cNvSpPr/>
              <p:nvPr/>
            </p:nvSpPr>
            <p:spPr>
              <a:xfrm>
                <a:off x="228599" y="4210051"/>
                <a:ext cx="1946723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xecution and Testing</a:t>
                </a:r>
              </a:p>
            </p:txBody>
          </p:sp>
        </p:grpSp>
        <p:sp>
          <p:nvSpPr>
            <p:cNvPr id="22" name="Right Arrow 21"/>
            <p:cNvSpPr/>
            <p:nvPr/>
          </p:nvSpPr>
          <p:spPr>
            <a:xfrm>
              <a:off x="2525524" y="2880908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3" name="Right Arrow 22"/>
            <p:cNvSpPr/>
            <p:nvPr/>
          </p:nvSpPr>
          <p:spPr>
            <a:xfrm>
              <a:off x="5378706" y="2883561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4" name="Right Arrow 23"/>
            <p:cNvSpPr/>
            <p:nvPr/>
          </p:nvSpPr>
          <p:spPr>
            <a:xfrm rot="10800000">
              <a:off x="5368629" y="3933887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 rot="10800000">
              <a:off x="2490624" y="3936540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6" name="Curved Left Arrow 25"/>
            <p:cNvSpPr/>
            <p:nvPr/>
          </p:nvSpPr>
          <p:spPr>
            <a:xfrm>
              <a:off x="8247589" y="2975322"/>
              <a:ext cx="710152" cy="958565"/>
            </a:xfrm>
            <a:prstGeom prst="curvedLef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497621" y="1981200"/>
            <a:ext cx="3293579" cy="323561"/>
            <a:chOff x="5622636" y="935864"/>
            <a:chExt cx="3136873" cy="243074"/>
          </a:xfrm>
        </p:grpSpPr>
        <p:sp>
          <p:nvSpPr>
            <p:cNvPr id="39" name="Rectangle 38"/>
            <p:cNvSpPr/>
            <p:nvPr/>
          </p:nvSpPr>
          <p:spPr>
            <a:xfrm>
              <a:off x="5622636" y="93867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</a:t>
              </a:r>
            </a:p>
            <a:p>
              <a:pPr algn="ctr"/>
              <a:r>
                <a:rPr lang="en-US" sz="800" dirty="0">
                  <a:latin typeface="Trebuchet MS" panose="020B0603020202020204" pitchFamily="34" charset="0"/>
                </a:rPr>
                <a:t>06/1/2015- 06/30/2016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186312" y="935864"/>
              <a:ext cx="1573197" cy="240261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>
                  <a:latin typeface="Trebuchet MS" panose="020B0603020202020204" pitchFamily="34" charset="0"/>
                </a:rPr>
                <a:t>7/1/2016- 12/31/2016</a:t>
              </a:r>
            </a:p>
          </p:txBody>
        </p:sp>
      </p:grpSp>
      <p:sp>
        <p:nvSpPr>
          <p:cNvPr id="5" name="Rectangle 4"/>
          <p:cNvSpPr/>
          <p:nvPr/>
        </p:nvSpPr>
        <p:spPr>
          <a:xfrm>
            <a:off x="2548916" y="2766230"/>
            <a:ext cx="1516734" cy="150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Training Window</a:t>
            </a:r>
          </a:p>
        </p:txBody>
      </p:sp>
      <p:sp>
        <p:nvSpPr>
          <p:cNvPr id="42" name="Rectangle 41"/>
          <p:cNvSpPr/>
          <p:nvPr/>
        </p:nvSpPr>
        <p:spPr>
          <a:xfrm>
            <a:off x="4175889" y="2766231"/>
            <a:ext cx="1516734" cy="150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Validation Window</a:t>
            </a:r>
          </a:p>
        </p:txBody>
      </p:sp>
      <p:sp>
        <p:nvSpPr>
          <p:cNvPr id="49" name="Rectangle 48"/>
          <p:cNvSpPr/>
          <p:nvPr/>
        </p:nvSpPr>
        <p:spPr>
          <a:xfrm>
            <a:off x="132376" y="1175289"/>
            <a:ext cx="4245615" cy="6463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900" b="0" dirty="0" smtClean="0"/>
              <a:t>Scope: BR US</a:t>
            </a:r>
          </a:p>
          <a:p>
            <a:r>
              <a:rPr lang="en-US" sz="900" b="0" dirty="0" smtClean="0"/>
              <a:t>Algorithm: Classification Models/GBM</a:t>
            </a:r>
          </a:p>
          <a:p>
            <a:r>
              <a:rPr lang="en-US" sz="900" b="0" dirty="0" smtClean="0"/>
              <a:t>Data: Yearly Transaction Data +  3 months Browse Data</a:t>
            </a:r>
          </a:p>
          <a:p>
            <a:r>
              <a:rPr lang="en-US" sz="900" b="0" dirty="0" smtClean="0"/>
              <a:t>Platforms &amp; Packages: Hive, R</a:t>
            </a:r>
            <a:endParaRPr lang="en-US" sz="900" b="0" dirty="0"/>
          </a:p>
        </p:txBody>
      </p:sp>
      <p:sp>
        <p:nvSpPr>
          <p:cNvPr id="14" name="Rectangle 13"/>
          <p:cNvSpPr/>
          <p:nvPr/>
        </p:nvSpPr>
        <p:spPr>
          <a:xfrm>
            <a:off x="2743200" y="4648200"/>
            <a:ext cx="2524798" cy="36933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</a:rPr>
              <a:t>Training Dataset : 20,000 customer-keys</a:t>
            </a:r>
          </a:p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</a:rPr>
              <a:t>Testing  Dataset : 4,657,520 customer-keys</a:t>
            </a:r>
          </a:p>
        </p:txBody>
      </p:sp>
      <p:sp>
        <p:nvSpPr>
          <p:cNvPr id="45" name="TextBox 7"/>
          <p:cNvSpPr txBox="1"/>
          <p:nvPr/>
        </p:nvSpPr>
        <p:spPr>
          <a:xfrm>
            <a:off x="4691279" y="1080345"/>
            <a:ext cx="4105275" cy="230832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algn="just">
              <a:defRPr sz="900" b="1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  <a:lvl2pPr lvl="1">
              <a:defRPr sz="900">
                <a:solidFill>
                  <a:schemeClr val="accent1">
                    <a:lumMod val="75000"/>
                  </a:schemeClr>
                </a:solidFill>
                <a:latin typeface="+mj-lt"/>
              </a:defRPr>
            </a:lvl2pPr>
            <a:lvl3pPr marL="1085850" lvl="2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3pPr>
            <a:lvl4pPr marL="1543050" lvl="3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endParaRPr lang="en-US" b="0" dirty="0"/>
          </a:p>
        </p:txBody>
      </p:sp>
      <p:grpSp>
        <p:nvGrpSpPr>
          <p:cNvPr id="31" name="Group 30"/>
          <p:cNvGrpSpPr/>
          <p:nvPr/>
        </p:nvGrpSpPr>
        <p:grpSpPr>
          <a:xfrm>
            <a:off x="2497621" y="2362200"/>
            <a:ext cx="3293579" cy="323561"/>
            <a:chOff x="5622636" y="935864"/>
            <a:chExt cx="3136873" cy="243074"/>
          </a:xfrm>
        </p:grpSpPr>
        <p:sp>
          <p:nvSpPr>
            <p:cNvPr id="32" name="Rectangle 31"/>
            <p:cNvSpPr/>
            <p:nvPr/>
          </p:nvSpPr>
          <p:spPr>
            <a:xfrm>
              <a:off x="5622636" y="93867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</a:t>
              </a:r>
            </a:p>
            <a:p>
              <a:pPr algn="ctr"/>
              <a:r>
                <a:rPr lang="en-US" sz="800" dirty="0" smtClean="0">
                  <a:latin typeface="Trebuchet MS" panose="020B0603020202020204" pitchFamily="34" charset="0"/>
                </a:rPr>
                <a:t>02/1/2016- 01/31/2017</a:t>
              </a:r>
              <a:endParaRPr lang="en-US" sz="800" dirty="0">
                <a:latin typeface="Trebuchet MS" panose="020B0603020202020204" pitchFamily="34" charset="0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7186312" y="935864"/>
              <a:ext cx="1573197" cy="240261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endParaRPr lang="en-US" sz="800" dirty="0">
                <a:latin typeface="Trebuchet MS" panose="020B0603020202020204" pitchFamily="34" charset="0"/>
              </a:endParaRPr>
            </a:p>
          </p:txBody>
        </p:sp>
      </p:grpSp>
      <p:sp>
        <p:nvSpPr>
          <p:cNvPr id="47" name="Rectangle 46"/>
          <p:cNvSpPr/>
          <p:nvPr/>
        </p:nvSpPr>
        <p:spPr>
          <a:xfrm>
            <a:off x="921666" y="2057400"/>
            <a:ext cx="1516734" cy="150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accent1">
                    <a:lumMod val="50000"/>
                  </a:schemeClr>
                </a:solidFill>
              </a:rPr>
              <a:t>In Time Window</a:t>
            </a:r>
            <a:endParaRPr lang="en-US" sz="8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980887" y="2450703"/>
            <a:ext cx="1516734" cy="150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accent1">
                    <a:lumMod val="50000"/>
                  </a:schemeClr>
                </a:solidFill>
              </a:rPr>
              <a:t>Out of Time </a:t>
            </a:r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Window</a:t>
            </a:r>
          </a:p>
        </p:txBody>
      </p:sp>
    </p:spTree>
    <p:extLst>
      <p:ext uri="{BB962C8B-B14F-4D97-AF65-F5344CB8AC3E}">
        <p14:creationId xmlns:p14="http://schemas.microsoft.com/office/powerpoint/2010/main" val="1286258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4</TotalTime>
  <Words>1454</Words>
  <Application>Microsoft Office PowerPoint</Application>
  <PresentationFormat>On-screen Show (4:3)</PresentationFormat>
  <Paragraphs>668</Paragraphs>
  <Slides>11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Office Theme</vt:lpstr>
      <vt:lpstr>think-cell Slide</vt:lpstr>
      <vt:lpstr>PowerPoint Presentation</vt:lpstr>
      <vt:lpstr>BACKGROUND</vt:lpstr>
      <vt:lpstr>Model Validations – 1 Month</vt:lpstr>
      <vt:lpstr>MODEL VALIDATIONS- 1 Month In Time</vt:lpstr>
      <vt:lpstr>MODEL VALIDATIONS- 1 Month Out of Time</vt:lpstr>
      <vt:lpstr>Model Validations – 3 Months</vt:lpstr>
      <vt:lpstr>MODEL VALIDATIONS- 3 Months In Time</vt:lpstr>
      <vt:lpstr>MODEL VALIDATIONS- 3 Month Out of Time</vt:lpstr>
      <vt:lpstr>Model Validations – 6 Months</vt:lpstr>
      <vt:lpstr>MODEL VALIDATIONS- 6 Months In Time</vt:lpstr>
      <vt:lpstr>MODEL VALIDATIONS- 6 Month Out of Time</vt:lpstr>
    </vt:vector>
  </TitlesOfParts>
  <Company>Gap in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khil Koul</dc:creator>
  <cp:lastModifiedBy>Nikhil Koul</cp:lastModifiedBy>
  <cp:revision>17</cp:revision>
  <dcterms:created xsi:type="dcterms:W3CDTF">2017-05-29T04:25:02Z</dcterms:created>
  <dcterms:modified xsi:type="dcterms:W3CDTF">2017-06-09T18:42:05Z</dcterms:modified>
</cp:coreProperties>
</file>